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2"/>
  </p:notesMasterIdLst>
  <p:sldIdLst>
    <p:sldId id="300" r:id="rId3"/>
    <p:sldId id="289" r:id="rId4"/>
    <p:sldId id="299" r:id="rId5"/>
    <p:sldId id="294" r:id="rId6"/>
    <p:sldId id="290" r:id="rId7"/>
    <p:sldId id="291" r:id="rId8"/>
    <p:sldId id="292" r:id="rId9"/>
    <p:sldId id="293" r:id="rId10"/>
    <p:sldId id="297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72" y="187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2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交车仪式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-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月</a:t>
            </a:r>
            <a:endParaRPr lang="en-US" altLang="zh-CN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7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495811"/>
              </p:ext>
            </p:extLst>
          </p:nvPr>
        </p:nvGraphicFramePr>
        <p:xfrm>
          <a:off x="539749" y="1107029"/>
          <a:ext cx="11079991" cy="3272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宾利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交车仪式 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– X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月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–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2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,XXX</a:t>
                      </a: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8575428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539359"/>
              </p:ext>
            </p:extLst>
          </p:nvPr>
        </p:nvGraphicFramePr>
        <p:xfrm>
          <a:off x="404261" y="1162112"/>
          <a:ext cx="11215482" cy="45396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35571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835571">
                  <a:extLst>
                    <a:ext uri="{9D8B030D-6E8A-4147-A177-3AD203B41FA5}">
                      <a16:colId xmlns:a16="http://schemas.microsoft.com/office/drawing/2014/main" val="1722467380"/>
                    </a:ext>
                  </a:extLst>
                </a:gridCol>
                <a:gridCol w="1132729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879661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924210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597470">
                  <a:extLst>
                    <a:ext uri="{9D8B030D-6E8A-4147-A177-3AD203B41FA5}">
                      <a16:colId xmlns:a16="http://schemas.microsoft.com/office/drawing/2014/main" val="610353967"/>
                    </a:ext>
                  </a:extLst>
                </a:gridCol>
                <a:gridCol w="1206400">
                  <a:extLst>
                    <a:ext uri="{9D8B030D-6E8A-4147-A177-3AD203B41FA5}">
                      <a16:colId xmlns:a16="http://schemas.microsoft.com/office/drawing/2014/main" val="2199988680"/>
                    </a:ext>
                  </a:extLst>
                </a:gridCol>
                <a:gridCol w="921453">
                  <a:extLst>
                    <a:ext uri="{9D8B030D-6E8A-4147-A177-3AD203B41FA5}">
                      <a16:colId xmlns:a16="http://schemas.microsoft.com/office/drawing/2014/main" val="1060807198"/>
                    </a:ext>
                  </a:extLst>
                </a:gridCol>
                <a:gridCol w="1882417">
                  <a:extLst>
                    <a:ext uri="{9D8B030D-6E8A-4147-A177-3AD203B41FA5}">
                      <a16:colId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选择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理由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师人数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从业年限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拍摄时长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设备（相机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像机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人机等）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87910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具体搭建方案及内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注明其他费用内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就餐人数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餐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就餐人数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酒水费用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902271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仪式安排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1317275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要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11064" y="3492957"/>
            <a:ext cx="5724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cs typeface="+mn-ea"/>
                <a:sym typeface="+mn-lt"/>
              </a:rPr>
              <a:t>请提供本月每场交车活动的安排，需包含简要活动流程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如本月全部交车活动均在展厅中进行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展厅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实景照片即可；</a:t>
              </a:r>
              <a:endParaRPr lang="en-US" altLang="zh-CN" sz="2000" dirty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如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本月交车活动涉及其他场地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请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交车场地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内外部实景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照片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（如为客户私人住所可不提供照片）</a:t>
              </a: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方信息（若有）：合作方背景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模式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交车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活动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有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多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个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不同主视觉设计，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全部提供并确保及时通过</a:t>
            </a:r>
            <a:r>
              <a:rPr lang="en-US" altLang="zh-CN" sz="2000" dirty="0" err="1">
                <a:solidFill>
                  <a:srgbClr val="232323"/>
                </a:solidFill>
                <a:cs typeface="+mn-ea"/>
                <a:sym typeface="+mn-lt"/>
              </a:rPr>
              <a:t>MarCom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审核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相同模板提交一次即可）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7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583461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630</Words>
  <Application>Microsoft Office PowerPoint</Application>
  <PresentationFormat>Widescreen</PresentationFormat>
  <Paragraphs>175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MS PGothic</vt:lpstr>
      <vt:lpstr>黑体</vt:lpstr>
      <vt:lpstr>Arial</vt:lpstr>
      <vt:lpstr>Bentley</vt:lpstr>
      <vt:lpstr>Bentley Light</vt:lpstr>
      <vt:lpstr>Bentley SemiBold</vt:lpstr>
      <vt:lpstr>Calibri</vt:lpstr>
      <vt:lpstr>Gill Sans MT</vt:lpstr>
      <vt:lpstr>3_Office Theme</vt:lpstr>
      <vt:lpstr>4_Office Theme</vt:lpstr>
      <vt:lpstr>think-cell Slide</vt:lpstr>
      <vt:lpstr>PowerPoint Presentation</vt:lpstr>
      <vt:lpstr>Overview 概述</vt:lpstr>
      <vt:lpstr>Event Budget 费用总览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Karen JianingHu</cp:lastModifiedBy>
  <cp:revision>47</cp:revision>
  <dcterms:created xsi:type="dcterms:W3CDTF">2022-02-15T07:41:51Z</dcterms:created>
  <dcterms:modified xsi:type="dcterms:W3CDTF">2022-03-23T09:53:15Z</dcterms:modified>
</cp:coreProperties>
</file>